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262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EBEFF5"/>
    <a:srgbClr val="FF0000"/>
    <a:srgbClr val="4C6C9C"/>
    <a:srgbClr val="404040"/>
    <a:srgbClr val="C3CFE1"/>
    <a:srgbClr val="364D6E"/>
    <a:srgbClr val="6F8DB9"/>
    <a:srgbClr val="C5D1E3"/>
    <a:srgbClr val="D8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C19420-D978-433F-80D8-28BB83E31BF5}" v="32" dt="2024-08-23T14:14:00.8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70982" autoAdjust="0"/>
  </p:normalViewPr>
  <p:slideViewPr>
    <p:cSldViewPr snapToGrid="0" showGuides="1">
      <p:cViewPr varScale="1">
        <p:scale>
          <a:sx n="64" d="100"/>
          <a:sy n="64" d="100"/>
        </p:scale>
        <p:origin x="14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onWaldow, Ulrich" userId="c64b3fe1-2fbf-4408-adc4-30add62e991f" providerId="ADAL" clId="{1CC19420-D978-433F-80D8-28BB83E31BF5}"/>
    <pc:docChg chg="custSel addSld delSld modSld modMainMaster replTag">
      <pc:chgData name="vonWaldow, Ulrich" userId="c64b3fe1-2fbf-4408-adc4-30add62e991f" providerId="ADAL" clId="{1CC19420-D978-433F-80D8-28BB83E31BF5}" dt="2024-09-09T12:30:46.007" v="123"/>
      <pc:docMkLst>
        <pc:docMk/>
      </pc:docMkLst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2116952522" sldId="260"/>
        </pc:sldMkLst>
      </pc:sldChg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743316995" sldId="261"/>
        </pc:sldMkLst>
      </pc:sldChg>
      <pc:sldChg chg="addSp delSp modSp mod chgLayout">
        <pc:chgData name="vonWaldow, Ulrich" userId="c64b3fe1-2fbf-4408-adc4-30add62e991f" providerId="ADAL" clId="{1CC19420-D978-433F-80D8-28BB83E31BF5}" dt="2024-09-09T12:30:46.007" v="123"/>
        <pc:sldMkLst>
          <pc:docMk/>
          <pc:sldMk cId="1636317749" sldId="262"/>
        </pc:sldMkLst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2" creationId="{3DE9F1E8-E23C-BA97-0FF4-142D28636477}"/>
          </ac:spMkLst>
        </pc:spChg>
        <pc:spChg chg="add mod">
          <ac:chgData name="vonWaldow, Ulrich" userId="c64b3fe1-2fbf-4408-adc4-30add62e991f" providerId="ADAL" clId="{1CC19420-D978-433F-80D8-28BB83E31BF5}" dt="2024-08-23T14:11:10.535" v="55"/>
          <ac:spMkLst>
            <pc:docMk/>
            <pc:sldMk cId="1636317749" sldId="262"/>
            <ac:spMk id="2" creationId="{7721F95A-D623-50C0-2469-D0CD52DBF9C9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3" creationId="{104455D8-15DF-7342-03F4-6D4779B2F4B8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4" creationId="{ADC5C561-95B7-EDED-E1C2-BC8E95E1699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5" creationId="{8F2CFFFC-0682-C681-302E-EDB8C3F635E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6" creationId="{F0254126-33BB-345A-6DA1-7326E114090F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7" creationId="{4D8DB89D-8E75-A680-93DC-24173272537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8" creationId="{E9812FA7-7A28-E0AB-CF03-8370D852284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9" creationId="{C1EDC3A2-32CC-B2CD-B46A-B65087129E10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0" creationId="{1EDD0601-301F-39BC-B4B6-314C8113CD6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1" creationId="{B7E3EDD0-D5A4-C36C-C9B3-91E1390A645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2" creationId="{B1181660-FF1C-B237-CA86-7BBFDEC326AC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3" creationId="{CCED05CD-63F1-43A9-A728-D086A1E6A3E5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4" creationId="{E3FF742A-C9D5-9230-AEC8-193EE6FE4BD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5" creationId="{6843FB82-8758-C070-3173-AEBD7187D5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6" creationId="{AAB9A6B8-7C41-FABA-A7FF-FFD0F5A34D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7" creationId="{21F0A4FA-9719-896F-83E2-B2F618AF45F8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8" creationId="{3809DB52-419E-5F4D-4462-0240F5C38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9" creationId="{68EF5DD0-4DC6-AFA5-C988-02BC2AD5FBE0}"/>
          </ac:spMkLst>
        </pc:spChg>
        <pc:spChg chg="mod ord">
          <ac:chgData name="vonWaldow, Ulrich" userId="c64b3fe1-2fbf-4408-adc4-30add62e991f" providerId="ADAL" clId="{1CC19420-D978-433F-80D8-28BB83E31BF5}" dt="2024-08-23T14:14:00.863" v="64" actId="948"/>
          <ac:spMkLst>
            <pc:docMk/>
            <pc:sldMk cId="1636317749" sldId="262"/>
            <ac:spMk id="20" creationId="{726E5BEB-613B-0FB6-217C-190F6CC6E5E2}"/>
          </ac:spMkLst>
        </pc:spChg>
        <pc:spChg chg="mod ord">
          <ac:chgData name="vonWaldow, Ulrich" userId="c64b3fe1-2fbf-4408-adc4-30add62e991f" providerId="ADAL" clId="{1CC19420-D978-433F-80D8-28BB83E31BF5}" dt="2024-09-06T08:58:37.299" v="98" actId="20577"/>
          <ac:spMkLst>
            <pc:docMk/>
            <pc:sldMk cId="1636317749" sldId="262"/>
            <ac:spMk id="21" creationId="{43A58038-ABE8-5392-73A3-BEDB4C1F356C}"/>
          </ac:spMkLst>
        </pc:spChg>
        <pc:spChg chg="mod ord">
          <ac:chgData name="vonWaldow, Ulrich" userId="c64b3fe1-2fbf-4408-adc4-30add62e991f" providerId="ADAL" clId="{1CC19420-D978-433F-80D8-28BB83E31BF5}" dt="2024-09-06T08:58:43.397" v="114" actId="20577"/>
          <ac:spMkLst>
            <pc:docMk/>
            <pc:sldMk cId="1636317749" sldId="262"/>
            <ac:spMk id="22" creationId="{048F7D3C-2A73-0CA3-FEE0-0E951B9AA65A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3" creationId="{5478CD02-1C50-F1DD-879F-D9456DDFA90F}"/>
          </ac:spMkLst>
        </pc:spChg>
        <pc:spChg chg="mod ord">
          <ac:chgData name="vonWaldow, Ulrich" userId="c64b3fe1-2fbf-4408-adc4-30add62e991f" providerId="ADAL" clId="{1CC19420-D978-433F-80D8-28BB83E31BF5}" dt="2024-09-03T13:36:36.755" v="77" actId="20577"/>
          <ac:spMkLst>
            <pc:docMk/>
            <pc:sldMk cId="1636317749" sldId="262"/>
            <ac:spMk id="24" creationId="{5F27A636-BB37-E559-5CCA-6E21CDD4F35B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5" creationId="{C2A01D36-154B-240E-E2C0-1B0051E9567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6" creationId="{CD383C24-CE5E-0ED2-84A6-C4E1547B228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7" creationId="{AF6B8439-D011-1578-53EA-A11E7E2C4311}"/>
          </ac:spMkLst>
        </pc:spChg>
        <pc:spChg chg="mod ord">
          <ac:chgData name="vonWaldow, Ulrich" userId="c64b3fe1-2fbf-4408-adc4-30add62e991f" providerId="ADAL" clId="{1CC19420-D978-433F-80D8-28BB83E31BF5}" dt="2024-09-09T12:30:46.007" v="123"/>
          <ac:spMkLst>
            <pc:docMk/>
            <pc:sldMk cId="1636317749" sldId="262"/>
            <ac:spMk id="28" creationId="{02884E67-468E-0855-DF3C-A8D0E2177449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9" creationId="{B9279329-D925-A88E-93AC-EA0FB02029DF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0" creationId="{7FB9CF18-A9C6-5785-50F8-0E78D149BF4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1" creationId="{8B09D566-1492-06C4-1410-28C023CA9FCE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2" creationId="{A3A628C4-84F3-50A8-C9B5-CB791DF59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3" creationId="{F3322D94-E157-95C8-E9CD-796D1041CD4D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4" creationId="{AA6366A9-1954-5255-B43B-40E8C31C88F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5" creationId="{62F9C49E-413A-6A0A-6FA4-D9A367ED20D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7" creationId="{B8FEAFE6-0F90-9C16-14A7-7FBA2038D9C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8" creationId="{3E0FBD43-4E2E-5E3B-5A91-8E7BE842A5C6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9" creationId="{B0FD6CD6-7294-0524-F8CB-4F3D92871C3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0" creationId="{2B41418D-6A5C-D445-AF59-FF8972A2BEA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1" creationId="{2A6A6ECB-1BCB-F1B9-C0E3-29D4FADC8961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2" creationId="{037999C8-7E95-A864-897D-CBC4040B615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3" creationId="{3C1F963B-0121-BA88-CB73-5821D483B8A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4" creationId="{634830F4-D29B-9D36-DE90-590FCA7C6D9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5" creationId="{58D96BBD-37C5-DE24-A691-1EFC3C0430E9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8" creationId="{047960EC-5F49-5061-585A-3BB44708B701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9" creationId="{5260D3B4-2FC5-3586-EC71-3C47D72FDE9C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0" creationId="{527B7E85-3338-7165-6A42-FC40E52E03AA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1" creationId="{8D5096C3-287E-5EAD-E0E6-5BBB7E1A0B9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2" creationId="{88EADF9F-A0E9-E8C7-B183-754B048BB547}"/>
          </ac:spMkLst>
        </pc:spChg>
        <pc:graphicFrameChg chg="mod">
          <ac:chgData name="vonWaldow, Ulrich" userId="c64b3fe1-2fbf-4408-adc4-30add62e991f" providerId="ADAL" clId="{1CC19420-D978-433F-80D8-28BB83E31BF5}" dt="2024-08-23T14:14:00.863" v="68"/>
          <ac:graphicFrameMkLst>
            <pc:docMk/>
            <pc:sldMk cId="1636317749" sldId="262"/>
            <ac:graphicFrameMk id="36" creationId="{7B8F5580-A789-1203-4FC7-668A3D01CCCB}"/>
          </ac:graphicFrameMkLst>
        </pc:graphicFrameChg>
      </pc:sldChg>
      <pc:sldChg chg="new del">
        <pc:chgData name="vonWaldow, Ulrich" userId="c64b3fe1-2fbf-4408-adc4-30add62e991f" providerId="ADAL" clId="{1CC19420-D978-433F-80D8-28BB83E31BF5}" dt="2024-09-06T08:58:28.542" v="81" actId="47"/>
        <pc:sldMkLst>
          <pc:docMk/>
          <pc:sldMk cId="1271856973" sldId="263"/>
        </pc:sldMkLst>
      </pc:sldChg>
      <pc:sldChg chg="add del">
        <pc:chgData name="vonWaldow, Ulrich" userId="c64b3fe1-2fbf-4408-adc4-30add62e991f" providerId="ADAL" clId="{1CC19420-D978-433F-80D8-28BB83E31BF5}" dt="2024-08-23T13:10:53.860" v="50" actId="47"/>
        <pc:sldMkLst>
          <pc:docMk/>
          <pc:sldMk cId="1313267725" sldId="263"/>
        </pc:sldMkLst>
      </pc:sldChg>
      <pc:sldChg chg="new del">
        <pc:chgData name="vonWaldow, Ulrich" userId="c64b3fe1-2fbf-4408-adc4-30add62e991f" providerId="ADAL" clId="{1CC19420-D978-433F-80D8-28BB83E31BF5}" dt="2024-09-03T13:36:59.620" v="79" actId="47"/>
        <pc:sldMkLst>
          <pc:docMk/>
          <pc:sldMk cId="1316568181" sldId="263"/>
        </pc:sldMkLst>
      </pc:sldChg>
      <pc:sldChg chg="new del">
        <pc:chgData name="vonWaldow, Ulrich" userId="c64b3fe1-2fbf-4408-adc4-30add62e991f" providerId="ADAL" clId="{1CC19420-D978-433F-80D8-28BB83E31BF5}" dt="2024-08-23T12:25:22.913" v="42" actId="47"/>
        <pc:sldMkLst>
          <pc:docMk/>
          <pc:sldMk cId="1513517959" sldId="263"/>
        </pc:sldMkLst>
      </pc:sldChg>
      <pc:sldChg chg="new del">
        <pc:chgData name="vonWaldow, Ulrich" userId="c64b3fe1-2fbf-4408-adc4-30add62e991f" providerId="ADAL" clId="{1CC19420-D978-433F-80D8-28BB83E31BF5}" dt="2024-08-23T08:53:51.800" v="17" actId="47"/>
        <pc:sldMkLst>
          <pc:docMk/>
          <pc:sldMk cId="2477861672" sldId="263"/>
        </pc:sldMkLst>
      </pc:sldChg>
      <pc:sldChg chg="new del">
        <pc:chgData name="vonWaldow, Ulrich" userId="c64b3fe1-2fbf-4408-adc4-30add62e991f" providerId="ADAL" clId="{1CC19420-D978-433F-80D8-28BB83E31BF5}" dt="2024-08-23T13:11:06.080" v="52" actId="47"/>
        <pc:sldMkLst>
          <pc:docMk/>
          <pc:sldMk cId="3132529742" sldId="263"/>
        </pc:sldMkLst>
      </pc:sldChg>
      <pc:sldChg chg="add del">
        <pc:chgData name="vonWaldow, Ulrich" userId="c64b3fe1-2fbf-4408-adc4-30add62e991f" providerId="ADAL" clId="{1CC19420-D978-433F-80D8-28BB83E31BF5}" dt="2024-08-23T08:55:36.303" v="40" actId="47"/>
        <pc:sldMkLst>
          <pc:docMk/>
          <pc:sldMk cId="4078235211" sldId="263"/>
        </pc:sldMkLst>
      </pc:sldChg>
      <pc:sldMasterChg chg="delSldLayout modSldLayout">
        <pc:chgData name="vonWaldow, Ulrich" userId="c64b3fe1-2fbf-4408-adc4-30add62e991f" providerId="ADAL" clId="{1CC19420-D978-433F-80D8-28BB83E31BF5}" dt="2024-08-23T14:13:55.135" v="62" actId="114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1CC19420-D978-433F-80D8-28BB83E31BF5}" dt="2024-08-23T08:51:51.183" v="14" actId="2696"/>
          <pc:sldLayoutMkLst>
            <pc:docMk/>
            <pc:sldMasterMk cId="3620642421" sldId="2147483927"/>
            <pc:sldLayoutMk cId="960772129" sldId="2147483958"/>
          </pc:sldLayoutMkLst>
        </pc:sldLayoutChg>
        <pc:sldLayoutChg chg="del">
          <pc:chgData name="vonWaldow, Ulrich" userId="c64b3fe1-2fbf-4408-adc4-30add62e991f" providerId="ADAL" clId="{1CC19420-D978-433F-80D8-28BB83E31BF5}" dt="2024-08-23T08:51:50.639" v="13" actId="2696"/>
          <pc:sldLayoutMkLst>
            <pc:docMk/>
            <pc:sldMasterMk cId="3620642421" sldId="2147483927"/>
            <pc:sldLayoutMk cId="2538349368" sldId="2147483959"/>
          </pc:sldLayoutMkLst>
        </pc:sldLayoutChg>
        <pc:sldLayoutChg chg="modSp">
          <pc:chgData name="vonWaldow, Ulrich" userId="c64b3fe1-2fbf-4408-adc4-30add62e991f" providerId="ADAL" clId="{1CC19420-D978-433F-80D8-28BB83E31BF5}" dt="2024-08-23T14:13:55.135" v="62" actId="114"/>
          <pc:sldLayoutMkLst>
            <pc:docMk/>
            <pc:sldMasterMk cId="3620642421" sldId="2147483927"/>
            <pc:sldLayoutMk cId="610450036" sldId="2147483960"/>
          </pc:sldLayoutMkLst>
          <pc:spChg chg="mod">
            <ac:chgData name="vonWaldow, Ulrich" userId="c64b3fe1-2fbf-4408-adc4-30add62e991f" providerId="ADAL" clId="{1CC19420-D978-433F-80D8-28BB83E31BF5}" dt="2024-08-23T14:13:55.135" v="62" actId="114"/>
            <ac:spMkLst>
              <pc:docMk/>
              <pc:sldMasterMk cId="3620642421" sldId="2147483927"/>
              <pc:sldLayoutMk cId="610450036" sldId="2147483960"/>
              <ac:spMk id="40" creationId="{27C2E5AD-BDA1-9F17-AB59-857A7131DACF}"/>
            </ac:spMkLst>
          </pc:spChg>
          <pc:spChg chg="mod">
            <ac:chgData name="vonWaldow, Ulrich" userId="c64b3fe1-2fbf-4408-adc4-30add62e991f" providerId="ADAL" clId="{1CC19420-D978-433F-80D8-28BB83E31BF5}" dt="2024-08-23T08:53:37.921" v="15" actId="962"/>
            <ac:spMkLst>
              <pc:docMk/>
              <pc:sldMasterMk cId="3620642421" sldId="2147483927"/>
              <pc:sldLayoutMk cId="610450036" sldId="2147483960"/>
              <ac:spMk id="46" creationId="{98E1A5E2-65E9-D4C5-7BFA-247F9516CC5C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9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9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6413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454" y="3159363"/>
            <a:ext cx="5428713" cy="1306248"/>
          </a:xfrm>
        </p:spPr>
        <p:txBody>
          <a:bodyPr lIns="36000" tIns="36000" rIns="36000" bIns="36000" numCol="2" spcCol="18000">
            <a:noAutofit/>
          </a:bodyPr>
          <a:lstStyle>
            <a:lvl1pPr marL="177800" indent="-177800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1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808" y="1383975"/>
            <a:ext cx="5466359" cy="1365365"/>
          </a:xfrm>
        </p:spPr>
        <p:txBody>
          <a:bodyPr lIns="36000" tIns="36000" rIns="36000" bIns="36000"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r>
              <a:rPr lang="de-DE" dirty="0"/>
              <a:t>Initial Situation &amp; Challen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D23A2AC-4D01-2523-DC9D-3E9ABE6F73C2}"/>
              </a:ext>
            </a:extLst>
          </p:cNvPr>
          <p:cNvCxnSpPr>
            <a:cxnSpLocks/>
          </p:cNvCxnSpPr>
          <p:nvPr userDrawn="1"/>
        </p:nvCxnSpPr>
        <p:spPr>
          <a:xfrm>
            <a:off x="6186879" y="1085134"/>
            <a:ext cx="0" cy="52427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14311" y="1260038"/>
            <a:ext cx="4696638" cy="1319198"/>
          </a:xfr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 i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D3292199-97E7-107D-101C-9B4D199378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8949" y="3175810"/>
            <a:ext cx="5567363" cy="3097991"/>
          </a:xfrm>
        </p:spPr>
        <p:txBody>
          <a:bodyPr/>
          <a:lstStyle>
            <a:lvl1pPr marL="0" indent="0"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Bild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Domain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sp>
        <p:nvSpPr>
          <p:cNvPr id="24" name="Parallelogramm 23">
            <a:extLst>
              <a:ext uri="{FF2B5EF4-FFF2-40B4-BE49-F238E27FC236}">
                <a16:creationId xmlns:a16="http://schemas.microsoft.com/office/drawing/2014/main" id="{43F3822F-2551-11EE-DC55-EB55D5C2AA25}"/>
              </a:ext>
            </a:extLst>
          </p:cNvPr>
          <p:cNvSpPr/>
          <p:nvPr userDrawn="1"/>
        </p:nvSpPr>
        <p:spPr>
          <a:xfrm>
            <a:off x="565824" y="1065051"/>
            <a:ext cx="5528984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AD8C068-F8CF-E34F-2B75-F40FC9D7C5A9}"/>
              </a:ext>
            </a:extLst>
          </p:cNvPr>
          <p:cNvSpPr/>
          <p:nvPr userDrawn="1"/>
        </p:nvSpPr>
        <p:spPr>
          <a:xfrm>
            <a:off x="349823" y="1008513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Grafik 25" descr="Lupe mit einfarbiger Füllung">
            <a:extLst>
              <a:ext uri="{FF2B5EF4-FFF2-40B4-BE49-F238E27FC236}">
                <a16:creationId xmlns:a16="http://schemas.microsoft.com/office/drawing/2014/main" id="{A4BE3FB3-9A65-CFF9-7998-4027A8D2DE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450623" y="1109313"/>
            <a:ext cx="230400" cy="230400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B76B3A3E-D5B9-E395-0E5C-101C76045CC7}"/>
              </a:ext>
            </a:extLst>
          </p:cNvPr>
          <p:cNvSpPr txBox="1"/>
          <p:nvPr userDrawn="1"/>
        </p:nvSpPr>
        <p:spPr>
          <a:xfrm>
            <a:off x="565825" y="1101402"/>
            <a:ext cx="3396575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Initial Situation &amp; Challenge</a:t>
            </a: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2ED28AD-D553-4B3E-EA4B-ACDB94855229}"/>
              </a:ext>
            </a:extLst>
          </p:cNvPr>
          <p:cNvGrpSpPr/>
          <p:nvPr userDrawn="1"/>
        </p:nvGrpSpPr>
        <p:grpSpPr>
          <a:xfrm>
            <a:off x="349823" y="2783496"/>
            <a:ext cx="5744986" cy="432000"/>
            <a:chOff x="349823" y="2962944"/>
            <a:chExt cx="5744986" cy="432000"/>
          </a:xfrm>
        </p:grpSpPr>
        <p:sp>
          <p:nvSpPr>
            <p:cNvPr id="35" name="Parallelogramm 34">
              <a:extLst>
                <a:ext uri="{FF2B5EF4-FFF2-40B4-BE49-F238E27FC236}">
                  <a16:creationId xmlns:a16="http://schemas.microsoft.com/office/drawing/2014/main" id="{BFA0D1BA-C54C-90BA-9D4E-573E6122E666}"/>
                </a:ext>
              </a:extLst>
            </p:cNvPr>
            <p:cNvSpPr/>
            <p:nvPr userDrawn="1"/>
          </p:nvSpPr>
          <p:spPr>
            <a:xfrm>
              <a:off x="565824" y="3019482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006ABDF6-D5D3-2CEA-95A3-CA9DCCBFCB79}"/>
                </a:ext>
              </a:extLst>
            </p:cNvPr>
            <p:cNvSpPr/>
            <p:nvPr userDrawn="1"/>
          </p:nvSpPr>
          <p:spPr>
            <a:xfrm>
              <a:off x="349823" y="2962944"/>
              <a:ext cx="432000" cy="432000"/>
            </a:xfrm>
            <a:prstGeom prst="ellipse">
              <a:avLst/>
            </a:prstGeom>
            <a:solidFill>
              <a:srgbClr val="003366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2" name="Grafik 41" descr="Route zwei Stecknadeln mit Weg mit einfarbiger Füllung">
              <a:extLst>
                <a:ext uri="{FF2B5EF4-FFF2-40B4-BE49-F238E27FC236}">
                  <a16:creationId xmlns:a16="http://schemas.microsoft.com/office/drawing/2014/main" id="{ED303A16-C139-2470-AF89-BB16B3C35B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0624" y="3063744"/>
              <a:ext cx="230400" cy="230400"/>
            </a:xfrm>
            <a:prstGeom prst="rect">
              <a:avLst/>
            </a:prstGeom>
          </p:spPr>
        </p:pic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917773B7-62C0-0443-00E0-8FF1D8BEBE45}"/>
                </a:ext>
              </a:extLst>
            </p:cNvPr>
            <p:cNvSpPr txBox="1"/>
            <p:nvPr userDrawn="1"/>
          </p:nvSpPr>
          <p:spPr>
            <a:xfrm>
              <a:off x="565824" y="3055834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 err="1">
                  <a:solidFill>
                    <a:schemeClr val="bg1"/>
                  </a:solidFill>
                  <a:latin typeface="Arial" panose="020B0604020202020204"/>
                </a:rPr>
                <a:t>Our</a:t>
              </a: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 Solution Concept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B9E6E3AF-815D-F8F3-7EA0-E94D7808EA90}"/>
              </a:ext>
            </a:extLst>
          </p:cNvPr>
          <p:cNvGrpSpPr/>
          <p:nvPr userDrawn="1"/>
        </p:nvGrpSpPr>
        <p:grpSpPr>
          <a:xfrm>
            <a:off x="349823" y="4561080"/>
            <a:ext cx="5744986" cy="432000"/>
            <a:chOff x="-6089077" y="2729523"/>
            <a:chExt cx="5744986" cy="432000"/>
          </a:xfrm>
        </p:grpSpPr>
        <p:sp>
          <p:nvSpPr>
            <p:cNvPr id="57" name="Parallelogramm 56">
              <a:extLst>
                <a:ext uri="{FF2B5EF4-FFF2-40B4-BE49-F238E27FC236}">
                  <a16:creationId xmlns:a16="http://schemas.microsoft.com/office/drawing/2014/main" id="{5369A5B8-E284-835C-8BD9-5EF5A1A452BC}"/>
                </a:ext>
              </a:extLst>
            </p:cNvPr>
            <p:cNvSpPr/>
            <p:nvPr userDrawn="1"/>
          </p:nvSpPr>
          <p:spPr>
            <a:xfrm>
              <a:off x="-5873076" y="2786061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D7ECAB0-C15C-3600-A7AC-DD81408DF5DF}"/>
                </a:ext>
              </a:extLst>
            </p:cNvPr>
            <p:cNvGrpSpPr/>
            <p:nvPr userDrawn="1"/>
          </p:nvGrpSpPr>
          <p:grpSpPr>
            <a:xfrm>
              <a:off x="-6089077" y="2729523"/>
              <a:ext cx="432000" cy="432000"/>
              <a:chOff x="-969588" y="3674144"/>
              <a:chExt cx="432000" cy="432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449819CB-5893-4485-6DA2-957222AF6E7E}"/>
                  </a:ext>
                </a:extLst>
              </p:cNvPr>
              <p:cNvSpPr/>
              <p:nvPr userDrawn="1"/>
            </p:nvSpPr>
            <p:spPr>
              <a:xfrm>
                <a:off x="-969588" y="3674144"/>
                <a:ext cx="432000" cy="432000"/>
              </a:xfrm>
              <a:prstGeom prst="ellipse">
                <a:avLst/>
              </a:prstGeom>
              <a:solidFill>
                <a:srgbClr val="003366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52" name="Grafik 51" descr="Aufwärtstrend mit einfarbiger Füllung">
                <a:extLst>
                  <a:ext uri="{FF2B5EF4-FFF2-40B4-BE49-F238E27FC236}">
                    <a16:creationId xmlns:a16="http://schemas.microsoft.com/office/drawing/2014/main" id="{70505792-34B2-899B-375C-98C8C4ED27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-868787" y="3774944"/>
                <a:ext cx="230400" cy="230400"/>
              </a:xfrm>
              <a:prstGeom prst="rect">
                <a:avLst/>
              </a:prstGeom>
            </p:spPr>
          </p:pic>
        </p:grp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E3937068-94E5-CCC7-1A40-53573519CBDC}"/>
                </a:ext>
              </a:extLst>
            </p:cNvPr>
            <p:cNvSpPr txBox="1"/>
            <p:nvPr userDrawn="1"/>
          </p:nvSpPr>
          <p:spPr>
            <a:xfrm>
              <a:off x="-5873076" y="2822413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Impact</a:t>
              </a:r>
            </a:p>
          </p:txBody>
        </p:sp>
      </p:grpSp>
      <p:sp>
        <p:nvSpPr>
          <p:cNvPr id="9" name="Textplatzhalter 33">
            <a:extLst>
              <a:ext uri="{FF2B5EF4-FFF2-40B4-BE49-F238E27FC236}">
                <a16:creationId xmlns:a16="http://schemas.microsoft.com/office/drawing/2014/main" id="{94A5A9BB-ABCC-39B6-3A2F-713163FA375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454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10" name="Textplatzhalter 33">
            <a:extLst>
              <a:ext uri="{FF2B5EF4-FFF2-40B4-BE49-F238E27FC236}">
                <a16:creationId xmlns:a16="http://schemas.microsoft.com/office/drawing/2014/main" id="{AC1F128E-9AF3-155A-C1E0-726D665CEA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455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</a:t>
            </a:r>
          </a:p>
        </p:txBody>
      </p:sp>
      <p:sp>
        <p:nvSpPr>
          <p:cNvPr id="16" name="Textplatzhalter 33">
            <a:extLst>
              <a:ext uri="{FF2B5EF4-FFF2-40B4-BE49-F238E27FC236}">
                <a16:creationId xmlns:a16="http://schemas.microsoft.com/office/drawing/2014/main" id="{AA11F49E-35B8-0CCD-FA07-157FA808BB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38248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2</a:t>
            </a:r>
          </a:p>
        </p:txBody>
      </p:sp>
      <p:sp>
        <p:nvSpPr>
          <p:cNvPr id="17" name="Textplatzhalter 33">
            <a:extLst>
              <a:ext uri="{FF2B5EF4-FFF2-40B4-BE49-F238E27FC236}">
                <a16:creationId xmlns:a16="http://schemas.microsoft.com/office/drawing/2014/main" id="{74AD7922-9B87-EE49-00E6-CA6C09DFEC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538248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2</a:t>
            </a:r>
          </a:p>
        </p:txBody>
      </p:sp>
      <p:sp>
        <p:nvSpPr>
          <p:cNvPr id="18" name="Textplatzhalter 33">
            <a:extLst>
              <a:ext uri="{FF2B5EF4-FFF2-40B4-BE49-F238E27FC236}">
                <a16:creationId xmlns:a16="http://schemas.microsoft.com/office/drawing/2014/main" id="{E8A4FF14-553B-08AC-2A2B-6F1C3B25BB0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09041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3</a:t>
            </a:r>
          </a:p>
        </p:txBody>
      </p:sp>
      <p:sp>
        <p:nvSpPr>
          <p:cNvPr id="21" name="Textplatzhalter 33">
            <a:extLst>
              <a:ext uri="{FF2B5EF4-FFF2-40B4-BE49-F238E27FC236}">
                <a16:creationId xmlns:a16="http://schemas.microsoft.com/office/drawing/2014/main" id="{A6008075-246C-48E1-1042-AB5743C154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09041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610450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87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3">
            <a:extLst>
              <a:ext uri="{FF2B5EF4-FFF2-40B4-BE49-F238E27FC236}">
                <a16:creationId xmlns:a16="http://schemas.microsoft.com/office/drawing/2014/main" id="{64016B32-4EDF-7F92-A9E3-DF3F1521540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569" y="6526781"/>
            <a:ext cx="789373" cy="214587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7AB7D72D-C521-F68F-095D-5D1378147241}"/>
              </a:ext>
            </a:extLst>
          </p:cNvPr>
          <p:cNvSpPr txBox="1"/>
          <p:nvPr userDrawn="1"/>
        </p:nvSpPr>
        <p:spPr>
          <a:xfrm>
            <a:off x="11373060" y="6495574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Nr.›</a:t>
            </a:fld>
            <a:endParaRPr lang="de-DE" sz="1200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2542732" y="0"/>
            <a:ext cx="381964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2542732" y="434552"/>
            <a:ext cx="381964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2542732" y="900182"/>
            <a:ext cx="381964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2542732" y="1566324"/>
            <a:ext cx="381964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2542732" y="2027295"/>
            <a:ext cx="381964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2542732" y="2488266"/>
            <a:ext cx="381964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2542732" y="2955343"/>
            <a:ext cx="381964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2542732" y="3422420"/>
            <a:ext cx="381964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2542732" y="4088563"/>
            <a:ext cx="381964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2542732" y="4535740"/>
            <a:ext cx="381964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2542732" y="4982917"/>
            <a:ext cx="381964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2542732" y="5877272"/>
            <a:ext cx="381964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2542732" y="5430094"/>
            <a:ext cx="381964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998" y="1062000"/>
            <a:ext cx="1152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tabLst>
          <a:tab pos="4476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5113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51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840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think-cell data - do not delete" hidden="1">
            <a:extLst>
              <a:ext uri="{FF2B5EF4-FFF2-40B4-BE49-F238E27FC236}">
                <a16:creationId xmlns:a16="http://schemas.microsoft.com/office/drawing/2014/main" id="{7B8F5580-A789-1203-4FC7-668A3D01CC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851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8F5580-A789-1203-4FC7-668A3D01C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ctiontitle">
            <a:extLst>
              <a:ext uri="{FF2B5EF4-FFF2-40B4-BE49-F238E27FC236}">
                <a16:creationId xmlns:a16="http://schemas.microsoft.com/office/drawing/2014/main" id="{726E5BEB-613B-0FB6-217C-190F6CC6E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0"/>
            <a:ext cx="11522075" cy="586860"/>
          </a:xfrm>
        </p:spPr>
        <p:txBody>
          <a:bodyPr vert="horz"/>
          <a:lstStyle/>
          <a:p>
            <a:r>
              <a:rPr lang="en-US" dirty="0" err="1"/>
              <a:t>Actiontitle</a:t>
            </a:r>
            <a:endParaRPr lang="en-US" dirty="0"/>
          </a:p>
        </p:txBody>
      </p:sp>
      <p:sp>
        <p:nvSpPr>
          <p:cNvPr id="22" name="Solution concept">
            <a:extLst>
              <a:ext uri="{FF2B5EF4-FFF2-40B4-BE49-F238E27FC236}">
                <a16:creationId xmlns:a16="http://schemas.microsoft.com/office/drawing/2014/main" id="{048F7D3C-2A73-0CA3-FEE0-0E951B9AA6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7454" y="3159363"/>
            <a:ext cx="5428713" cy="1306248"/>
          </a:xfrm>
        </p:spPr>
        <p:txBody>
          <a:bodyPr/>
          <a:lstStyle/>
          <a:p>
            <a:r>
              <a:rPr lang="en-US" dirty="0"/>
              <a:t>Solution concept</a:t>
            </a:r>
          </a:p>
        </p:txBody>
      </p:sp>
      <p:sp>
        <p:nvSpPr>
          <p:cNvPr id="21" name="Initial situation">
            <a:extLst>
              <a:ext uri="{FF2B5EF4-FFF2-40B4-BE49-F238E27FC236}">
                <a16:creationId xmlns:a16="http://schemas.microsoft.com/office/drawing/2014/main" id="{43A58038-ABE8-5392-73A3-BEDB4C1F35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808" y="1383975"/>
            <a:ext cx="5466359" cy="1365365"/>
          </a:xfrm>
        </p:spPr>
        <p:txBody>
          <a:bodyPr/>
          <a:lstStyle/>
          <a:p>
            <a:r>
              <a:rPr lang="en-US" dirty="0"/>
              <a:t>Initial situation</a:t>
            </a:r>
          </a:p>
        </p:txBody>
      </p:sp>
      <p:sp>
        <p:nvSpPr>
          <p:cNvPr id="48" name="Statement">
            <a:extLst>
              <a:ext uri="{FF2B5EF4-FFF2-40B4-BE49-F238E27FC236}">
                <a16:creationId xmlns:a16="http://schemas.microsoft.com/office/drawing/2014/main" id="{047960EC-5F49-5061-585A-3BB44708B7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14311" y="1260038"/>
            <a:ext cx="4696638" cy="1319198"/>
          </a:xfrm>
        </p:spPr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49" name="Picture_1">
            <a:extLst>
              <a:ext uri="{FF2B5EF4-FFF2-40B4-BE49-F238E27FC236}">
                <a16:creationId xmlns:a16="http://schemas.microsoft.com/office/drawing/2014/main" id="{5260D3B4-2FC5-3586-EC71-3C47D72FDE9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8949" y="3175810"/>
            <a:ext cx="5567363" cy="3097991"/>
          </a:xfrm>
        </p:spPr>
        <p:txBody>
          <a:bodyPr/>
          <a:lstStyle/>
          <a:p>
            <a:r>
              <a:rPr lang="en-US" dirty="0"/>
              <a:t>Picture_1</a:t>
            </a:r>
          </a:p>
        </p:txBody>
      </p:sp>
      <p:sp>
        <p:nvSpPr>
          <p:cNvPr id="28" name="Industry">
            <a:extLst>
              <a:ext uri="{FF2B5EF4-FFF2-40B4-BE49-F238E27FC236}">
                <a16:creationId xmlns:a16="http://schemas.microsoft.com/office/drawing/2014/main" id="{02884E67-468E-0855-DF3C-A8D0E21774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962" y="586859"/>
            <a:ext cx="11522075" cy="327540"/>
          </a:xfrm>
        </p:spPr>
        <p:txBody>
          <a:bodyPr/>
          <a:lstStyle/>
          <a:p>
            <a:r>
              <a:rPr lang="en-US"/>
              <a:t>Industry | Company description</a:t>
            </a:r>
            <a:endParaRPr lang="en-US" dirty="0"/>
          </a:p>
        </p:txBody>
      </p:sp>
      <p:sp>
        <p:nvSpPr>
          <p:cNvPr id="24" name="Company">
            <a:extLst>
              <a:ext uri="{FF2B5EF4-FFF2-40B4-BE49-F238E27FC236}">
                <a16:creationId xmlns:a16="http://schemas.microsoft.com/office/drawing/2014/main" id="{5F27A636-BB37-E559-5CCA-6E21CDD4F3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4018" y="-683511"/>
            <a:ext cx="2966720" cy="211203"/>
          </a:xfrm>
        </p:spPr>
        <p:txBody>
          <a:bodyPr/>
          <a:lstStyle/>
          <a:p>
            <a:r>
              <a:rPr lang="en-US" dirty="0"/>
              <a:t>Company</a:t>
            </a:r>
          </a:p>
        </p:txBody>
      </p:sp>
      <p:sp>
        <p:nvSpPr>
          <p:cNvPr id="25" name="Person responsible">
            <a:extLst>
              <a:ext uri="{FF2B5EF4-FFF2-40B4-BE49-F238E27FC236}">
                <a16:creationId xmlns:a16="http://schemas.microsoft.com/office/drawing/2014/main" id="{C2A01D36-154B-240E-E2C0-1B0051E956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34018" y="-373369"/>
            <a:ext cx="2966720" cy="211203"/>
          </a:xfrm>
        </p:spPr>
        <p:txBody>
          <a:bodyPr/>
          <a:lstStyle/>
          <a:p>
            <a:r>
              <a:rPr lang="en-US" dirty="0"/>
              <a:t>Person responsible</a:t>
            </a:r>
          </a:p>
        </p:txBody>
      </p:sp>
      <p:sp>
        <p:nvSpPr>
          <p:cNvPr id="26" name="ID">
            <a:extLst>
              <a:ext uri="{FF2B5EF4-FFF2-40B4-BE49-F238E27FC236}">
                <a16:creationId xmlns:a16="http://schemas.microsoft.com/office/drawing/2014/main" id="{CD383C24-CE5E-0ED2-84A6-C4E1547B22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4" y="-990610"/>
            <a:ext cx="828000" cy="828444"/>
          </a:xfrm>
        </p:spPr>
        <p:txBody>
          <a:bodyPr/>
          <a:lstStyle/>
          <a:p>
            <a:r>
              <a:rPr lang="en-US" dirty="0"/>
              <a:t>ID</a:t>
            </a:r>
          </a:p>
        </p:txBody>
      </p:sp>
      <p:sp>
        <p:nvSpPr>
          <p:cNvPr id="27" name="Domain">
            <a:extLst>
              <a:ext uri="{FF2B5EF4-FFF2-40B4-BE49-F238E27FC236}">
                <a16:creationId xmlns:a16="http://schemas.microsoft.com/office/drawing/2014/main" id="{AF6B8439-D011-1578-53EA-A11E7E2C43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4018" y="-990610"/>
            <a:ext cx="2966720" cy="211203"/>
          </a:xfrm>
        </p:spPr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30" name="KPI 1">
            <a:extLst>
              <a:ext uri="{FF2B5EF4-FFF2-40B4-BE49-F238E27FC236}">
                <a16:creationId xmlns:a16="http://schemas.microsoft.com/office/drawing/2014/main" id="{7FB9CF18-A9C6-5785-50F8-0E78D149BF4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67454" y="5088549"/>
            <a:ext cx="1687125" cy="276999"/>
          </a:xfrm>
        </p:spPr>
        <p:txBody>
          <a:bodyPr/>
          <a:lstStyle/>
          <a:p>
            <a:r>
              <a:rPr lang="en-US" dirty="0"/>
              <a:t>KPI 1</a:t>
            </a:r>
          </a:p>
        </p:txBody>
      </p:sp>
      <p:sp>
        <p:nvSpPr>
          <p:cNvPr id="50" name="Description KPI 1">
            <a:extLst>
              <a:ext uri="{FF2B5EF4-FFF2-40B4-BE49-F238E27FC236}">
                <a16:creationId xmlns:a16="http://schemas.microsoft.com/office/drawing/2014/main" id="{527B7E85-3338-7165-6A42-FC40E52E0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67455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32" name="KPI 2">
            <a:extLst>
              <a:ext uri="{FF2B5EF4-FFF2-40B4-BE49-F238E27FC236}">
                <a16:creationId xmlns:a16="http://schemas.microsoft.com/office/drawing/2014/main" id="{A3A628C4-84F3-50A8-C9B5-CB791DF594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38248" y="5088549"/>
            <a:ext cx="1687125" cy="276999"/>
          </a:xfrm>
        </p:spPr>
        <p:txBody>
          <a:bodyPr/>
          <a:lstStyle/>
          <a:p>
            <a:r>
              <a:rPr lang="en-US" dirty="0"/>
              <a:t>KPI 2</a:t>
            </a:r>
          </a:p>
        </p:txBody>
      </p:sp>
      <p:sp>
        <p:nvSpPr>
          <p:cNvPr id="51" name="Description KPI 2">
            <a:extLst>
              <a:ext uri="{FF2B5EF4-FFF2-40B4-BE49-F238E27FC236}">
                <a16:creationId xmlns:a16="http://schemas.microsoft.com/office/drawing/2014/main" id="{8D5096C3-287E-5EAD-E0E6-5BBB7E1A0B9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538248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2</a:t>
            </a:r>
          </a:p>
        </p:txBody>
      </p:sp>
      <p:sp>
        <p:nvSpPr>
          <p:cNvPr id="34" name="KPI 3">
            <a:extLst>
              <a:ext uri="{FF2B5EF4-FFF2-40B4-BE49-F238E27FC236}">
                <a16:creationId xmlns:a16="http://schemas.microsoft.com/office/drawing/2014/main" id="{AA6366A9-1954-5255-B43B-40E8C31C88F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409041" y="5088549"/>
            <a:ext cx="1687125" cy="276999"/>
          </a:xfrm>
        </p:spPr>
        <p:txBody>
          <a:bodyPr/>
          <a:lstStyle/>
          <a:p>
            <a:r>
              <a:rPr lang="en-US" dirty="0"/>
              <a:t>KPI 3</a:t>
            </a:r>
          </a:p>
        </p:txBody>
      </p:sp>
      <p:sp>
        <p:nvSpPr>
          <p:cNvPr id="52" name="Description KPI 3">
            <a:extLst>
              <a:ext uri="{FF2B5EF4-FFF2-40B4-BE49-F238E27FC236}">
                <a16:creationId xmlns:a16="http://schemas.microsoft.com/office/drawing/2014/main" id="{88EADF9F-A0E9-E8C7-B183-754B048BB54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09041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1636317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d83083c4-fe3b-4c96-aa87-9b2af1a9ebdb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Single=&quot;2024_02_TCW Master_uvw¦1_Standardfolie mit Pfeil&quot; customLayoutName=&quot;2024_02_TCW Master_uvw¦1_Standardfolie mit Pfeil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Backup=&quot;2024_02_TCW Master_uvw¦1_Standardfolie mit Pfeil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nameFarEast=&quot;&quot; nameComplexScript=&quot;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+mn-lt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nameFarEast=&quot;&quot; nameComplexScript=&quot;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New Agenda&quot; title=&quot;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8&quot; hideSeparatingSlides=&quot;0&quot; createSections=&quot;1&quot; singleSlideId=&quot;61011472-c7a4-439d-83f1-dd9a57b2016e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552.6906&quot; /&gt;&lt;column field=&quot;responsible&quot; label=&quot;Responsible&quot; visible=&quot;1&quot; checked=&quot;0&quot; leftSpacing=&quot;10&quot; rightDistribute=&quot;1&quot; dock=&quot;1&quot; rightSpacing=&quot;205.9839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27a30834-6042-4218-9c25-dff6bbfb7712&quot; parentId=&quot;&quot; level=&quot;1&quot; generateAgendaSlide=&quot;1&quot; showAgendaItem=&quot;1&quot; isBreak=&quot;0&quot; topic=&quot;Innovation Management&quot; agendaSlideId=&quot;56a576cf-bb2b-4ae2-9807-c4198b701f69&quot; sectionId=&quot;{76D4F924-BAC1-4581-8ACB-AED83F2A84ED}&quot; /&gt;&lt;item duration=&quot;30&quot; id=&quot;f1a486f2-611b-4b8f-b850-5e5c152f483e&quot; parentId=&quot;&quot; level=&quot;1&quot; generateAgendaSlide=&quot;1&quot; showAgendaItem=&quot;1&quot; isBreak=&quot;0&quot; topic=&quot;Product &amp;amp; Service Excellence &quot; agendaSlideId=&quot;fca82681-cd2e-4d19-8bfe-041b1d36daa0&quot; sectionId=&quot;{8AC0F033-C88B-4A87-BD14-949B38B54FED}&quot; /&gt;&lt;item duration=&quot;30&quot; id=&quot;455da16d-81d4-496a-a914-55d87292cd22&quot; parentId=&quot;&quot; level=&quot;1&quot; generateAgendaSlide=&quot;1&quot; showAgendaItem=&quot;1&quot; isBreak=&quot;0&quot; topic=&quot;Procurement&quot; agendaSlideId=&quot;e423de2d-cdee-4842-b517-2db6d4c31f66&quot; sectionId=&quot;{E5374370-1522-4671-B830-CE9EB6ED7AAF}&quot; /&gt;&lt;item duration=&quot;30&quot; id=&quot;55c01f84-efc2-4849-b451-808d2cd5e657&quot; parentId=&quot;&quot; level=&quot;1&quot; generateAgendaSlide=&quot;1&quot; showAgendaItem=&quot;1&quot; isBreak=&quot;0&quot; topic=&quot;Production &amp;amp; Supply Chain Managment&quot; agendaSlideId=&quot;68c8e4a8-6e9d-407c-ae81-d10545ff029e&quot; sectionId=&quot;{9B417A8F-5C98-43D0-B109-D4246E031EAE}&quot; /&gt;&lt;item duration=&quot;30&quot; id=&quot;d4aafe5b-51af-4182-94ad-6edab0caf264&quot; parentId=&quot;&quot; level=&quot;1&quot; generateAgendaSlide=&quot;1&quot; showAgendaItem=&quot;1&quot; isBreak=&quot;0&quot; topic=&quot;Digital Transformation, Data Analytics &amp;amp; AI&quot; agendaSlideId=&quot;c78cd36d-4e89-46db-89c7-d4b1d73ee9c6&quot; sectionId=&quot;{F19EE3A0-DDA9-4D9F-A429-3AB9CEDE4CC6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fb8dc1b-9d59-4105-bc07-f1f968f5154f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5b6c06b5-1db8-4c81-aedd-b1bde2b8bfd2">
      <Terms xmlns="http://schemas.microsoft.com/office/infopath/2007/PartnerControls"/>
    </lcf76f155ced4ddcb4097134ff3c332f>
    <TaxCatchAll xmlns="3fb8dc1b-9d59-4105-bc07-f1f968f5154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FA53E48D41D05439A7FB623C7478AFF" ma:contentTypeVersion="18" ma:contentTypeDescription="Ein neues Dokument erstellen." ma:contentTypeScope="" ma:versionID="495b3b6b5079efe696b8d9f588648941">
  <xsd:schema xmlns:xsd="http://www.w3.org/2001/XMLSchema" xmlns:xs="http://www.w3.org/2001/XMLSchema" xmlns:p="http://schemas.microsoft.com/office/2006/metadata/properties" xmlns:ns2="5b6c06b5-1db8-4c81-aedd-b1bde2b8bfd2" xmlns:ns3="3fb8dc1b-9d59-4105-bc07-f1f968f5154f" targetNamespace="http://schemas.microsoft.com/office/2006/metadata/properties" ma:root="true" ma:fieldsID="2182acfa1422538829d9682ba2cc316e" ns2:_="" ns3:_="">
    <xsd:import namespace="5b6c06b5-1db8-4c81-aedd-b1bde2b8bfd2"/>
    <xsd:import namespace="3fb8dc1b-9d59-4105-bc07-f1f968f515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6c06b5-1db8-4c81-aedd-b1bde2b8bf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8dc1b-9d59-4105-bc07-f1f968f5154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0ddd5a7-ec8d-41ea-9803-d40f54a04c1e}" ma:internalName="TaxCatchAll" ma:showField="CatchAllData" ma:web="3fb8dc1b-9d59-4105-bc07-f1f968f5154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34EEC2-295B-443A-8029-DF87F749AE1B}">
  <ds:schemaRefs>
    <ds:schemaRef ds:uri="3fb8dc1b-9d59-4105-bc07-f1f968f5154f"/>
    <ds:schemaRef ds:uri="5b6c06b5-1db8-4c81-aedd-b1bde2b8bfd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8709FC7-DADA-4BD7-AD71-1B217709B1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b6c06b5-1db8-4c81-aedd-b1bde2b8bfd2"/>
    <ds:schemaRef ds:uri="3fb8dc1b-9d59-4105-bc07-f1f968f51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3</Words>
  <Application>Microsoft Office PowerPoint</Application>
  <PresentationFormat>Breitbild</PresentationFormat>
  <Paragraphs>1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</vt:vector>
  </TitlesOfParts>
  <Manager/>
  <Company>TCW Transfer-Centrum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vonWaldow, Ulrich</dc:creator>
  <cp:keywords>, docId:AEBEB4E5AFF77D24A7487559A5952AD8</cp:keywords>
  <dc:description/>
  <cp:lastModifiedBy>vonWaldow, Ulrich</cp:lastModifiedBy>
  <cp:revision>7</cp:revision>
  <cp:lastPrinted>1999-12-31T23:00:00Z</cp:lastPrinted>
  <dcterms:created xsi:type="dcterms:W3CDTF">2024-02-19T13:17:53Z</dcterms:created>
  <dcterms:modified xsi:type="dcterms:W3CDTF">2024-09-09T12:30:47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53E48D41D05439A7FB623C7478AFF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